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8" r:id="rId2"/>
    <p:sldId id="269" r:id="rId3"/>
    <p:sldId id="260" r:id="rId4"/>
    <p:sldId id="264" r:id="rId5"/>
    <p:sldId id="265" r:id="rId6"/>
    <p:sldId id="270" r:id="rId7"/>
    <p:sldId id="263" r:id="rId8"/>
    <p:sldId id="273" r:id="rId9"/>
    <p:sldId id="268" r:id="rId10"/>
    <p:sldId id="266" r:id="rId11"/>
    <p:sldId id="267" r:id="rId12"/>
    <p:sldId id="271" r:id="rId13"/>
    <p:sldId id="261" r:id="rId14"/>
    <p:sldId id="262" r:id="rId15"/>
    <p:sldId id="274" r:id="rId16"/>
    <p:sldId id="275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81335" autoAdjust="0"/>
  </p:normalViewPr>
  <p:slideViewPr>
    <p:cSldViewPr snapToGrid="0" showGuides="1">
      <p:cViewPr varScale="1">
        <p:scale>
          <a:sx n="68" d="100"/>
          <a:sy n="68" d="100"/>
        </p:scale>
        <p:origin x="-806" y="-67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4/11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74995F-74EE-49B3-B833-0FCA9450F1AD}" type="datetimeFigureOut">
              <a:rPr lang="en-GB" smtClean="0"/>
              <a:t>14/11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488CD-09CC-4DC3-9723-35818884FCD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6685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5488CD-09CC-4DC3-9723-35818884FCD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7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5488CD-09CC-4DC3-9723-35818884FCD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7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o conduct a Life Cycle Assessment (LCA) we need to create a model of the life cycle of a given product or process which we can then use to estimate the potential environmental impact which results. This includes extraction of raw materials, processing, transport, use, disposal etc. etc.</a:t>
            </a:r>
          </a:p>
          <a:p>
            <a:endParaRPr lang="en-GB" dirty="0" smtClean="0"/>
          </a:p>
          <a:p>
            <a:r>
              <a:rPr lang="en-GB" dirty="0" smtClean="0"/>
              <a:t>Because each item used in a life cycle has it’s own set upstream processes the LCA model tends to be split into the foreground system - the processes under the control of the person doing the LCA - and the background system - the rest of the industrial economy which provides the materials and services required by the foreground system.</a:t>
            </a:r>
          </a:p>
          <a:p>
            <a:endParaRPr lang="en-GB" dirty="0" smtClean="0"/>
          </a:p>
          <a:p>
            <a:r>
              <a:rPr lang="en-GB" dirty="0" smtClean="0"/>
              <a:t>Background system models are either determined by data providers (e.g. ecoinvent) or can be customised using Ocelot.</a:t>
            </a:r>
          </a:p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5488CD-09CC-4DC3-9723-35818884FCD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1236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foreground model is a set of linked unit processes. A unit process describes a stage in the life cycle. It is basically a list of the exchanges required to produce one unit of an intermediate (or final) product. These exchanges can either be inputs from the technosphere - the human constructed industrial economy - or resources from or emissions to the biosphere. Technosphere exchanges can either come from the background system or other processes in the foreground system.</a:t>
            </a:r>
          </a:p>
          <a:p>
            <a:endParaRPr lang="en-GB" dirty="0" smtClean="0"/>
          </a:p>
          <a:p>
            <a:r>
              <a:rPr lang="en-GB" dirty="0" smtClean="0"/>
              <a:t>For example, when you make a cup of tea you make some boiling water, add this to some tea leaves, add some milk, then use/drink it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5488CD-09CC-4DC3-9723-35818884FCD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7233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4/11/2017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68185" y="690880"/>
            <a:ext cx="6984337" cy="1300480"/>
          </a:xfrm>
        </p:spPr>
        <p:txBody>
          <a:bodyPr anchor="t">
            <a:normAutofit/>
          </a:bodyPr>
          <a:lstStyle/>
          <a:p>
            <a:r>
              <a:rPr lang="en-GB" sz="3200" dirty="0"/>
              <a:t>Introducing </a:t>
            </a:r>
            <a:r>
              <a:rPr lang="en-GB" sz="3200" i="1" dirty="0" err="1" smtClean="0"/>
              <a:t>lcopt</a:t>
            </a:r>
            <a:endParaRPr lang="en-GB" sz="3200" i="1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7963" y="1493520"/>
            <a:ext cx="6987075" cy="2021840"/>
          </a:xfrm>
        </p:spPr>
        <p:txBody>
          <a:bodyPr anchor="t">
            <a:normAutofit/>
          </a:bodyPr>
          <a:lstStyle/>
          <a:p>
            <a:r>
              <a:rPr lang="en-GB" dirty="0"/>
              <a:t>An interactive tool for creating fully parameterised Life Cycle Assessment (LCA) foreground </a:t>
            </a:r>
            <a:r>
              <a:rPr lang="en-GB" dirty="0" smtClean="0"/>
              <a:t>models</a:t>
            </a:r>
          </a:p>
          <a:p>
            <a:endParaRPr lang="en-GB" dirty="0"/>
          </a:p>
          <a:p>
            <a:r>
              <a:rPr lang="en-GB" sz="1800" dirty="0" smtClean="0"/>
              <a:t>James Joyce	</a:t>
            </a:r>
          </a:p>
          <a:p>
            <a:r>
              <a:rPr lang="en-GB" sz="1800" dirty="0" smtClean="0"/>
              <a:t>15/11/2017</a:t>
            </a:r>
            <a:endParaRPr lang="en-GB" sz="1800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cel and </a:t>
            </a:r>
            <a:r>
              <a:rPr lang="en-GB" dirty="0" err="1" smtClean="0"/>
              <a:t>Brightway</a:t>
            </a:r>
            <a:endParaRPr lang="en-GB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185" y="1371750"/>
            <a:ext cx="4676233" cy="4379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9745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cel and </a:t>
            </a:r>
            <a:r>
              <a:rPr lang="en-GB" dirty="0" err="1" smtClean="0"/>
              <a:t>Brightway</a:t>
            </a:r>
            <a:endParaRPr lang="en-GB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10" y="1934272"/>
            <a:ext cx="7442200" cy="2476500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9316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cel and </a:t>
            </a:r>
            <a:r>
              <a:rPr lang="en-GB" dirty="0" err="1" smtClean="0"/>
              <a:t>Brightway</a:t>
            </a:r>
            <a:endParaRPr lang="en-GB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1504950"/>
            <a:ext cx="8972550" cy="384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111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Lcopt</a:t>
            </a:r>
            <a:endParaRPr lang="en-GB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0" y="1390650"/>
            <a:ext cx="3429000" cy="407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432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monstration</a:t>
            </a:r>
            <a:endParaRPr lang="en-GB" dirty="0"/>
          </a:p>
        </p:txBody>
      </p:sp>
      <p:pic>
        <p:nvPicPr>
          <p:cNvPr id="5" name="Lcopt_runthrough4.wmv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610266" y="1237050"/>
            <a:ext cx="5961411" cy="4471492"/>
          </a:xfrm>
        </p:spPr>
      </p:pic>
    </p:spTree>
    <p:extLst>
      <p:ext uri="{BB962C8B-B14F-4D97-AF65-F5344CB8AC3E}">
        <p14:creationId xmlns:p14="http://schemas.microsoft.com/office/powerpoint/2010/main" val="1215299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‘Real world’ example</a:t>
            </a:r>
            <a:endParaRPr lang="en-GB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908" y="1303679"/>
            <a:ext cx="6724185" cy="4497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9656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mmar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Simple, intuitive way to create LCA mod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Accessible for novice practitio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New visualis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Flexible and open sour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Aim to build a comm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Interact with the growing open source movement in LC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279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err="1" smtClean="0"/>
              <a:t>Lcopt</a:t>
            </a:r>
            <a:r>
              <a:rPr lang="en-GB" dirty="0" smtClean="0"/>
              <a:t>?</a:t>
            </a:r>
            <a:endParaRPr lang="en-GB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313" y="1204331"/>
            <a:ext cx="6389726" cy="459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972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verview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LCA soft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err="1" smtClean="0"/>
              <a:t>Lcopt</a:t>
            </a:r>
            <a:r>
              <a:rPr lang="en-GB" dirty="0" smtClean="0"/>
              <a:t> modelling appro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Demonstr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9315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CA Software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2148839" y="1483360"/>
            <a:ext cx="2177627" cy="42976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326466" y="1483360"/>
            <a:ext cx="2177627" cy="4297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04093" y="1483360"/>
            <a:ext cx="2177627" cy="42976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19760" y="1483360"/>
            <a:ext cx="1529080" cy="4297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48839" y="1483360"/>
            <a:ext cx="21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Foreground modelling</a:t>
            </a:r>
            <a:endParaRPr lang="en-GB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6504093" y="1483360"/>
            <a:ext cx="21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Background modelling</a:t>
            </a:r>
            <a:endParaRPr lang="en-GB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4326466" y="1483360"/>
            <a:ext cx="21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LCI/LCIA calculation</a:t>
            </a:r>
            <a:endParaRPr lang="en-GB" sz="140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619760" y="1821914"/>
            <a:ext cx="806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9761" y="2373234"/>
            <a:ext cx="1529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Commercial</a:t>
            </a:r>
            <a:endParaRPr lang="en-GB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619761" y="3859821"/>
            <a:ext cx="1529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Freeware</a:t>
            </a:r>
            <a:endParaRPr lang="en-GB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619761" y="5166431"/>
            <a:ext cx="1529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Open source</a:t>
            </a:r>
            <a:endParaRPr lang="en-GB" sz="1400" dirty="0"/>
          </a:p>
        </p:txBody>
      </p:sp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2243" y="1912489"/>
            <a:ext cx="1880957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8" name="Picture 12" descr="http://closetheloop.gr/wp-content/uploads/2014/03/GaBi-Product-Sustainability-Performance-500_02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261" y="2531987"/>
            <a:ext cx="110204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https://www.erg.com/sites/default/files/2016-08/OpenLCA_1600x10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782" y="3601842"/>
            <a:ext cx="1317978" cy="8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Image result for ecoinvent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96" b="21618"/>
          <a:stretch/>
        </p:blipFill>
        <p:spPr bwMode="auto">
          <a:xfrm>
            <a:off x="6888538" y="2062976"/>
            <a:ext cx="1408736" cy="93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https://ocelot.space/files/ocelot-logo-small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573" y="4843762"/>
            <a:ext cx="1704666" cy="645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 descr="https://brightwaylca.org/img/bw2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946" y="4828870"/>
            <a:ext cx="1704667" cy="645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0" name="Picture 24" descr="https://upload.wikimedia.org/wikipedia/commons/thumb/8/86/Microsoft_Excel_2013_logo.svg/2000px-Microsoft_Excel_2013_logo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216" y="2286967"/>
            <a:ext cx="489113" cy="480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31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CA Software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2148839" y="1483360"/>
            <a:ext cx="2177627" cy="42976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326466" y="1483360"/>
            <a:ext cx="2177627" cy="4297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04093" y="1483360"/>
            <a:ext cx="2177627" cy="42976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19760" y="1483360"/>
            <a:ext cx="1529080" cy="4297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48839" y="1483360"/>
            <a:ext cx="21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Foreground modelling</a:t>
            </a:r>
            <a:endParaRPr lang="en-GB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6504093" y="1483360"/>
            <a:ext cx="21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Background modelling</a:t>
            </a:r>
            <a:endParaRPr lang="en-GB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4326466" y="1483360"/>
            <a:ext cx="21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LCI/LCIA calculation</a:t>
            </a:r>
            <a:endParaRPr lang="en-GB" sz="140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619760" y="1821914"/>
            <a:ext cx="806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9761" y="2373234"/>
            <a:ext cx="1529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Commercial</a:t>
            </a:r>
            <a:endParaRPr lang="en-GB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619761" y="3859821"/>
            <a:ext cx="1529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Freeware</a:t>
            </a:r>
            <a:endParaRPr lang="en-GB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619761" y="5166431"/>
            <a:ext cx="1529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/>
              <a:t>Open source</a:t>
            </a:r>
            <a:endParaRPr lang="en-GB" sz="1400" dirty="0"/>
          </a:p>
        </p:txBody>
      </p:sp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2243" y="1912489"/>
            <a:ext cx="1880957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8" name="Picture 12" descr="http://closetheloop.gr/wp-content/uploads/2014/03/GaBi-Product-Sustainability-Performance-500_02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261" y="2531987"/>
            <a:ext cx="110204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https://www.erg.com/sites/default/files/2016-08/OpenLCA_1600x10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782" y="3601842"/>
            <a:ext cx="1317978" cy="82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Image result for ecoinvent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96" b="21618"/>
          <a:stretch/>
        </p:blipFill>
        <p:spPr bwMode="auto">
          <a:xfrm>
            <a:off x="6888538" y="2062976"/>
            <a:ext cx="1408736" cy="93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https://ocelot.space/files/ocelot-logo-small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573" y="4843762"/>
            <a:ext cx="1704666" cy="645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 descr="https://brightwaylca.org/img/bw2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946" y="4828870"/>
            <a:ext cx="1704667" cy="645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0" name="Picture 24" descr="https://upload.wikimedia.org/wikipedia/commons/thumb/8/86/Microsoft_Excel_2013_logo.svg/2000px-Microsoft_Excel_2013_logo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216" y="2286967"/>
            <a:ext cx="489113" cy="480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1" name="Picture 25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E1E3E4"/>
              </a:clrFrom>
              <a:clrTo>
                <a:srgbClr val="E1E3E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680" y="5087656"/>
            <a:ext cx="2115944" cy="40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/>
          <p:cNvSpPr/>
          <p:nvPr/>
        </p:nvSpPr>
        <p:spPr>
          <a:xfrm>
            <a:off x="2148839" y="4888366"/>
            <a:ext cx="2146785" cy="821058"/>
          </a:xfrm>
          <a:prstGeom prst="ellipse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66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Lcopt</a:t>
            </a:r>
            <a:r>
              <a:rPr lang="en-GB" dirty="0" smtClean="0"/>
              <a:t> modelling approach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402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king a cup of tea</a:t>
            </a:r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8160" y="1229360"/>
            <a:ext cx="6106160" cy="457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2639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king a cup of tea</a:t>
            </a:r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8160" y="1229360"/>
            <a:ext cx="6106160" cy="457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2823890" y="1853948"/>
            <a:ext cx="3833977" cy="3330443"/>
            <a:chOff x="1533843" y="1912063"/>
            <a:chExt cx="3833977" cy="3330443"/>
          </a:xfrm>
        </p:grpSpPr>
        <p:sp>
          <p:nvSpPr>
            <p:cNvPr id="5" name="Rounded Rectangle 4"/>
            <p:cNvSpPr/>
            <p:nvPr/>
          </p:nvSpPr>
          <p:spPr>
            <a:xfrm>
              <a:off x="3620903" y="1912063"/>
              <a:ext cx="1746917" cy="5281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Kettle</a:t>
              </a:r>
              <a:endParaRPr lang="en-GB" sz="1600" dirty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533844" y="1912063"/>
              <a:ext cx="1260001" cy="2520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Electricity</a:t>
              </a:r>
              <a:endParaRPr lang="en-GB" sz="1200" dirty="0" smtClean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" name="Straight Arrow Connector 6"/>
            <p:cNvCxnSpPr>
              <a:stCxn id="6" idx="3"/>
            </p:cNvCxnSpPr>
            <p:nvPr/>
          </p:nvCxnSpPr>
          <p:spPr>
            <a:xfrm>
              <a:off x="2793845" y="2038063"/>
              <a:ext cx="82705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ounded Rectangle 7"/>
            <p:cNvSpPr/>
            <p:nvPr/>
          </p:nvSpPr>
          <p:spPr>
            <a:xfrm>
              <a:off x="3620903" y="3313197"/>
              <a:ext cx="1746917" cy="5281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Teapot</a:t>
              </a:r>
              <a:endParaRPr lang="en-GB" sz="1600" dirty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1533844" y="3451285"/>
              <a:ext cx="1260001" cy="2520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Tea Leaves</a:t>
              </a:r>
              <a:endParaRPr lang="en-GB" sz="1200" dirty="0" smtClean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0" name="Straight Arrow Connector 9"/>
            <p:cNvCxnSpPr>
              <a:stCxn id="9" idx="3"/>
              <a:endCxn id="8" idx="1"/>
            </p:cNvCxnSpPr>
            <p:nvPr/>
          </p:nvCxnSpPr>
          <p:spPr>
            <a:xfrm>
              <a:off x="2793845" y="3577285"/>
              <a:ext cx="82705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ounded Rectangle 10"/>
            <p:cNvSpPr/>
            <p:nvPr/>
          </p:nvSpPr>
          <p:spPr>
            <a:xfrm>
              <a:off x="3620903" y="4714330"/>
              <a:ext cx="1746917" cy="5281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Tea cup</a:t>
              </a:r>
              <a:endParaRPr lang="en-GB" sz="1600" dirty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1533844" y="4852418"/>
              <a:ext cx="1260001" cy="2520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Milk</a:t>
              </a:r>
              <a:endParaRPr lang="en-GB" sz="1200" dirty="0" smtClean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3" name="Straight Arrow Connector 12"/>
            <p:cNvCxnSpPr>
              <a:stCxn id="12" idx="3"/>
              <a:endCxn id="11" idx="1"/>
            </p:cNvCxnSpPr>
            <p:nvPr/>
          </p:nvCxnSpPr>
          <p:spPr>
            <a:xfrm>
              <a:off x="2793845" y="4978418"/>
              <a:ext cx="82705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>
              <a:stCxn id="5" idx="2"/>
              <a:endCxn id="8" idx="0"/>
            </p:cNvCxnSpPr>
            <p:nvPr/>
          </p:nvCxnSpPr>
          <p:spPr>
            <a:xfrm>
              <a:off x="4494362" y="2440239"/>
              <a:ext cx="0" cy="872958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>
              <a:stCxn id="8" idx="2"/>
              <a:endCxn id="11" idx="0"/>
            </p:cNvCxnSpPr>
            <p:nvPr/>
          </p:nvCxnSpPr>
          <p:spPr>
            <a:xfrm>
              <a:off x="4494362" y="3841373"/>
              <a:ext cx="0" cy="87295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ounded Rectangle 15"/>
            <p:cNvSpPr/>
            <p:nvPr/>
          </p:nvSpPr>
          <p:spPr>
            <a:xfrm>
              <a:off x="1533843" y="2188239"/>
              <a:ext cx="1260001" cy="2520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Water</a:t>
              </a:r>
              <a:endParaRPr lang="en-GB" sz="1200" dirty="0" smtClean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7" name="Straight Arrow Connector 16"/>
            <p:cNvCxnSpPr>
              <a:stCxn id="16" idx="3"/>
            </p:cNvCxnSpPr>
            <p:nvPr/>
          </p:nvCxnSpPr>
          <p:spPr>
            <a:xfrm>
              <a:off x="2793844" y="2314239"/>
              <a:ext cx="827059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ounded Rectangle 19"/>
            <p:cNvSpPr/>
            <p:nvPr/>
          </p:nvSpPr>
          <p:spPr>
            <a:xfrm>
              <a:off x="3864360" y="2750718"/>
              <a:ext cx="1260001" cy="2520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Boiling Water</a:t>
              </a:r>
              <a:endParaRPr lang="en-GB" sz="1200" dirty="0" smtClean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3864361" y="4151851"/>
              <a:ext cx="1260001" cy="2520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solidFill>
                    <a:sysClr val="windowText" lastClr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Black tea</a:t>
              </a:r>
              <a:endParaRPr lang="en-GB" sz="1200" dirty="0" smtClean="0">
                <a:solidFill>
                  <a:sysClr val="windowText" lastClr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782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imaPro</a:t>
            </a:r>
            <a:endParaRPr lang="en-GB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015" y="1304691"/>
            <a:ext cx="6603560" cy="4214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293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red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red</Template>
  <TotalTime>3430</TotalTime>
  <Words>390</Words>
  <Application>Microsoft Office PowerPoint</Application>
  <PresentationFormat>On-screen Show (4:3)</PresentationFormat>
  <Paragraphs>69</Paragraphs>
  <Slides>16</Slides>
  <Notes>4</Notes>
  <HiddenSlides>1</HiddenSlides>
  <MMClips>1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KTH_PPT template 2014 red</vt:lpstr>
      <vt:lpstr>think-cell Slide</vt:lpstr>
      <vt:lpstr>Introducing lcopt</vt:lpstr>
      <vt:lpstr>What is Lcopt?</vt:lpstr>
      <vt:lpstr>Overview</vt:lpstr>
      <vt:lpstr>LCA Software</vt:lpstr>
      <vt:lpstr>LCA Software</vt:lpstr>
      <vt:lpstr>Lcopt modelling approach</vt:lpstr>
      <vt:lpstr>Making a cup of tea</vt:lpstr>
      <vt:lpstr>Making a cup of tea</vt:lpstr>
      <vt:lpstr>SimaPro</vt:lpstr>
      <vt:lpstr>Excel and Brightway</vt:lpstr>
      <vt:lpstr>Excel and Brightway</vt:lpstr>
      <vt:lpstr>Excel and Brightway</vt:lpstr>
      <vt:lpstr>Lcopt</vt:lpstr>
      <vt:lpstr>Demonstration</vt:lpstr>
      <vt:lpstr>‘Real world’ example</vt:lpstr>
      <vt:lpstr>Summary</vt:lpstr>
    </vt:vector>
  </TitlesOfParts>
  <Company>Kungliga Tekniska Högskol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d term seminar</dc:title>
  <dc:creator>Peter James Joyce</dc:creator>
  <cp:lastModifiedBy>Peter James Joyce</cp:lastModifiedBy>
  <cp:revision>50</cp:revision>
  <cp:lastPrinted>2013-05-27T09:10:21Z</cp:lastPrinted>
  <dcterms:created xsi:type="dcterms:W3CDTF">2017-05-02T08:14:08Z</dcterms:created>
  <dcterms:modified xsi:type="dcterms:W3CDTF">2017-11-15T09:38:55Z</dcterms:modified>
</cp:coreProperties>
</file>